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9" r:id="rId1"/>
  </p:sldMasterIdLst>
  <p:notesMasterIdLst>
    <p:notesMasterId r:id="rId4"/>
  </p:notesMasterIdLst>
  <p:sldIdLst>
    <p:sldId id="297" r:id="rId2"/>
    <p:sldId id="330" r:id="rId3"/>
  </p:sldIdLst>
  <p:sldSz cx="9906000" cy="6858000" type="A4"/>
  <p:notesSz cx="6797675" cy="9926638"/>
  <p:custDataLst>
    <p:tags r:id="rId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9">
          <p15:clr>
            <a:srgbClr val="A4A3A4"/>
          </p15:clr>
        </p15:guide>
        <p15:guide id="2" orient="horz" pos="845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3120">
          <p15:clr>
            <a:srgbClr val="A4A3A4"/>
          </p15:clr>
        </p15:guide>
        <p15:guide id="5" pos="172">
          <p15:clr>
            <a:srgbClr val="A4A3A4"/>
          </p15:clr>
        </p15:guide>
        <p15:guide id="6" pos="60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hael Daugbjerg - Implement Consulting Group" initials="MD-ICG" lastIdx="6" clrIdx="0"/>
  <p:cmAuthor id="1" name="Martin Vinstrup - Implement Consulting Group" initials="MARV" lastIdx="1" clrIdx="1"/>
  <p:cmAuthor id="2" name="Maria Bosse - Implement Consulting Group" initials="MB-ICG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AC32"/>
    <a:srgbClr val="3F3E40"/>
    <a:srgbClr val="3D3935"/>
    <a:srgbClr val="4D4D4D"/>
    <a:srgbClr val="D9D9D9"/>
    <a:srgbClr val="00627D"/>
    <a:srgbClr val="969696"/>
    <a:srgbClr val="B2B2B2"/>
    <a:srgbClr val="004C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970" autoAdjust="0"/>
  </p:normalViewPr>
  <p:slideViewPr>
    <p:cSldViewPr showGuides="1">
      <p:cViewPr varScale="1">
        <p:scale>
          <a:sx n="63" d="100"/>
          <a:sy n="63" d="100"/>
        </p:scale>
        <p:origin x="1228" y="92"/>
      </p:cViewPr>
      <p:guideLst>
        <p:guide orient="horz" pos="2319"/>
        <p:guide orient="horz" pos="845"/>
        <p:guide orient="horz" pos="3793"/>
        <p:guide pos="3120"/>
        <p:guide pos="172"/>
        <p:guide pos="606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5A7005-3886-4F31-B9FB-4D1D463B10A2}" type="datetimeFigureOut">
              <a:rPr lang="da-DK" smtClean="0">
                <a:latin typeface="Arial"/>
              </a:rPr>
              <a:pPr/>
              <a:t>08-01-2018</a:t>
            </a:fld>
            <a:endParaRPr lang="da-DK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5BBCB4-99FF-4509-A4E4-EE8DBE7FBC6F}" type="slidenum">
              <a:rPr lang="da-DK" smtClean="0">
                <a:latin typeface="Arial"/>
              </a:rPr>
              <a:pPr/>
              <a:t>‹#›</a:t>
            </a:fld>
            <a:endParaRPr lang="da-DK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8369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5BBCB4-99FF-4509-A4E4-EE8DBE7FBC6F}" type="slidenum">
              <a:rPr lang="da-DK" smtClean="0">
                <a:solidFill>
                  <a:prstClr val="black"/>
                </a:solidFill>
              </a:rPr>
              <a:pPr/>
              <a:t>2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061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12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Relationship Id="rId1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054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9906000" cy="414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1" name="Picture 20" descr="C:\Users\tso\Desktop\PPT forside Folder\PPT forside logo_46-43-40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9028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-1587" y="4140000"/>
            <a:ext cx="9906000" cy="271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5925" y="4585506"/>
            <a:ext cx="9074150" cy="492443"/>
          </a:xfrm>
        </p:spPr>
        <p:txBody>
          <a:bodyPr lIns="0" tIns="0" rIns="0" bIns="0" anchor="t" anchorCtr="0">
            <a:spAutoFit/>
          </a:bodyPr>
          <a:lstStyle>
            <a:lvl1pPr algn="l">
              <a:defRPr sz="3200" b="0" baseline="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da-DK" noProof="0" dirty="0"/>
              <a:t>Skriv titel her (maks. 2 linjer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5925" y="3861048"/>
            <a:ext cx="9074150" cy="215444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 dirty="0"/>
              <a:t>Dato og sted (fx 1. Januar 2016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15925" y="5153203"/>
            <a:ext cx="6480000" cy="276999"/>
          </a:xfrm>
        </p:spPr>
        <p:txBody>
          <a:bodyPr wrap="square">
            <a:spAutoFit/>
          </a:bodyPr>
          <a:lstStyle>
            <a:lvl1pPr>
              <a:defRPr sz="18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a-DK" noProof="0" dirty="0"/>
              <a:t>Skriv undertitel her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770" y="6148388"/>
            <a:ext cx="169030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710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269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273046" y="1341438"/>
            <a:ext cx="9360385" cy="1115454"/>
          </a:xfrm>
          <a:prstGeom prst="rect">
            <a:avLst/>
          </a:prstGeom>
          <a:solidFill>
            <a:srgbClr val="00627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5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12"/>
          <a:stretch/>
        </p:blipFill>
        <p:spPr>
          <a:xfrm flipH="1">
            <a:off x="273046" y="2924944"/>
            <a:ext cx="9359901" cy="33123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500" y="1448780"/>
            <a:ext cx="9180450" cy="648072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ts val="2200"/>
              </a:lnSpc>
              <a:defRPr sz="1800" b="0" spc="300" baseline="0">
                <a:solidFill>
                  <a:schemeClr val="bg1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da-DK" noProof="0" dirty="0"/>
              <a:t>Skriv titel her</a:t>
            </a:r>
            <a:br>
              <a:rPr lang="da-DK" noProof="0" dirty="0"/>
            </a:br>
            <a:r>
              <a:rPr lang="da-DK" noProof="0" dirty="0"/>
              <a:t>(hvid + brun, accent 4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1930" y="2735052"/>
            <a:ext cx="9359900" cy="153888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000" cap="none" baseline="0">
                <a:solidFill>
                  <a:schemeClr val="accent5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 dirty="0"/>
              <a:t>DATO OG STED (fx 1. Januar 2016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1930" y="2240868"/>
            <a:ext cx="9180450" cy="1692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da-DK" noProof="0" dirty="0"/>
              <a:t>Navn Implement </a:t>
            </a:r>
            <a:r>
              <a:rPr lang="da-DK" noProof="0" dirty="0" err="1"/>
              <a:t>consulting</a:t>
            </a:r>
            <a:r>
              <a:rPr lang="da-DK" noProof="0" dirty="0"/>
              <a:t> </a:t>
            </a:r>
            <a:r>
              <a:rPr lang="da-DK" noProof="0" dirty="0" err="1"/>
              <a:t>group</a:t>
            </a:r>
            <a:endParaRPr lang="da-DK" noProof="0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-1490839" y="0"/>
            <a:ext cx="1395940" cy="1872208"/>
            <a:chOff x="-1490839" y="2276872"/>
            <a:chExt cx="1395940" cy="1872208"/>
          </a:xfrm>
        </p:grpSpPr>
        <p:sp>
          <p:nvSpPr>
            <p:cNvPr id="9" name="Content Placeholder 7"/>
            <p:cNvSpPr txBox="1">
              <a:spLocks/>
            </p:cNvSpPr>
            <p:nvPr userDrawn="1"/>
          </p:nvSpPr>
          <p:spPr>
            <a:xfrm>
              <a:off x="-1490839" y="2276872"/>
              <a:ext cx="1395940" cy="187220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36000" tIns="36000" rIns="36000" bIns="36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/>
              </a:pPr>
              <a:r>
                <a:rPr lang="da-DK" sz="1200" b="1" dirty="0">
                  <a:solidFill>
                    <a:schemeClr val="accent6"/>
                  </a:solidFill>
                </a:rPr>
                <a:t>Forside 2</a:t>
              </a:r>
              <a:br>
                <a:rPr lang="da-DK" sz="1200" b="1" dirty="0">
                  <a:solidFill>
                    <a:schemeClr val="accent6"/>
                  </a:solidFill>
                </a:rPr>
              </a:br>
              <a:r>
                <a:rPr lang="da-DK" sz="1200" b="0" dirty="0">
                  <a:solidFill>
                    <a:schemeClr val="tx1"/>
                  </a:solidFill>
                </a:rPr>
                <a:t>Brug</a:t>
              </a:r>
              <a:r>
                <a:rPr lang="da-DK" sz="1200" b="0" baseline="0" dirty="0">
                  <a:solidFill>
                    <a:schemeClr val="tx1"/>
                  </a:solidFill>
                </a:rPr>
                <a:t> to farver i titlen</a:t>
              </a:r>
              <a:r>
                <a:rPr lang="da-DK" sz="1200" b="1" dirty="0"/>
                <a:t>: White text</a:t>
              </a:r>
              <a:r>
                <a:rPr lang="da-DK" sz="1200" b="1" baseline="0" dirty="0"/>
                <a:t> </a:t>
              </a:r>
              <a:br>
                <a:rPr lang="da-DK" sz="1200" b="1" baseline="0" dirty="0"/>
              </a:br>
              <a:r>
                <a:rPr lang="da-DK" sz="1200" b="1" baseline="0" dirty="0"/>
                <a:t>+ Brown, Accent 4</a:t>
              </a:r>
              <a:endParaRPr lang="da-DK" sz="1200" b="1" dirty="0"/>
            </a:p>
          </p:txBody>
        </p:sp>
        <p:grpSp>
          <p:nvGrpSpPr>
            <p:cNvPr id="7" name="Group 6"/>
            <p:cNvGrpSpPr/>
            <p:nvPr userDrawn="1"/>
          </p:nvGrpSpPr>
          <p:grpSpPr>
            <a:xfrm>
              <a:off x="-1490839" y="3091157"/>
              <a:ext cx="1392063" cy="1021919"/>
              <a:chOff x="-1172643" y="3055153"/>
              <a:chExt cx="1073867" cy="788330"/>
            </a:xfrm>
          </p:grpSpPr>
          <p:grpSp>
            <p:nvGrpSpPr>
              <p:cNvPr id="11" name="Group 10"/>
              <p:cNvGrpSpPr/>
              <p:nvPr userDrawn="1"/>
            </p:nvGrpSpPr>
            <p:grpSpPr>
              <a:xfrm>
                <a:off x="-1172643" y="3055153"/>
                <a:ext cx="1073867" cy="788330"/>
                <a:chOff x="4129088" y="2824163"/>
                <a:chExt cx="1647825" cy="1209675"/>
              </a:xfrm>
            </p:grpSpPr>
            <p:pic>
              <p:nvPicPr>
                <p:cNvPr id="12" name="Picture 2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9088" y="2824163"/>
                  <a:ext cx="1647825" cy="12096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3" name="Picture 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84899" y="3140968"/>
                  <a:ext cx="581025" cy="2667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6" name="Rectangle 5"/>
              <p:cNvSpPr/>
              <p:nvPr userDrawn="1"/>
            </p:nvSpPr>
            <p:spPr>
              <a:xfrm>
                <a:off x="-1146251" y="3325750"/>
                <a:ext cx="77069" cy="7706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14" name="Rectangle 13"/>
              <p:cNvSpPr/>
              <p:nvPr userDrawn="1"/>
            </p:nvSpPr>
            <p:spPr>
              <a:xfrm>
                <a:off x="-409215" y="3325750"/>
                <a:ext cx="77069" cy="7706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accent5"/>
                  </a:solidFill>
                </a:endParaRPr>
              </a:p>
            </p:txBody>
          </p:sp>
        </p:grp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8954" y="9929961"/>
            <a:ext cx="1538456" cy="351049"/>
          </a:xfrm>
          <a:prstGeom prst="rect">
            <a:avLst/>
          </a:prstGeom>
        </p:spPr>
      </p:pic>
      <p:cxnSp>
        <p:nvCxnSpPr>
          <p:cNvPr id="37" name="Straight Connector 36"/>
          <p:cNvCxnSpPr/>
          <p:nvPr userDrawn="1"/>
        </p:nvCxnSpPr>
        <p:spPr>
          <a:xfrm>
            <a:off x="273050" y="2600908"/>
            <a:ext cx="9359900" cy="0"/>
          </a:xfrm>
          <a:prstGeom prst="line">
            <a:avLst/>
          </a:prstGeom>
          <a:ln w="19050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5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844" y="242969"/>
            <a:ext cx="2057587" cy="629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110" y="355593"/>
            <a:ext cx="670246" cy="404499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282483" y="6422017"/>
            <a:ext cx="3086289" cy="355355"/>
            <a:chOff x="282483" y="6422017"/>
            <a:chExt cx="3086289" cy="355355"/>
          </a:xfrm>
        </p:grpSpPr>
        <p:pic>
          <p:nvPicPr>
            <p:cNvPr id="24" name="Picture 37" descr="I:\Implement\Graphic Design\_Grafisk materiale\Logoer\Implement Consulting Group\Farve\RGB_online\png\Implement-logo_RGB_hires.png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483" y="6521079"/>
              <a:ext cx="1034113" cy="220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5"/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079" b="26335"/>
            <a:stretch/>
          </p:blipFill>
          <p:spPr>
            <a:xfrm>
              <a:off x="1604628" y="6463557"/>
              <a:ext cx="1051769" cy="261370"/>
            </a:xfrm>
            <a:prstGeom prst="rect">
              <a:avLst/>
            </a:prstGeom>
          </p:spPr>
        </p:pic>
        <p:pic>
          <p:nvPicPr>
            <p:cNvPr id="26" name="Picture 2" descr="Billedresultat for kora logo"/>
            <p:cNvPicPr>
              <a:picLocks noChangeAspect="1" noChangeArrowheads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0772" y="6422017"/>
              <a:ext cx="468000" cy="355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45736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963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7" r="3314" b="8658"/>
          <a:stretch/>
        </p:blipFill>
        <p:spPr>
          <a:xfrm>
            <a:off x="0" y="1"/>
            <a:ext cx="9906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 rot="511770">
            <a:off x="3333118" y="3628565"/>
            <a:ext cx="5492054" cy="800219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0" baseline="0">
                <a:solidFill>
                  <a:schemeClr val="tx1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da-DK" noProof="0" dirty="0"/>
              <a:t>Skriv titel her</a:t>
            </a:r>
            <a:br>
              <a:rPr lang="da-DK" noProof="0" dirty="0"/>
            </a:br>
            <a:r>
              <a:rPr lang="da-DK" noProof="0" dirty="0"/>
              <a:t>(maks. 2 linjer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 rot="511770">
            <a:off x="3417561" y="3341890"/>
            <a:ext cx="5485506" cy="215444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cap="all" baseline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noProof="0" dirty="0"/>
              <a:t>DATO OG STED (fx 1. Januar 2016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 rot="511770">
            <a:off x="3244842" y="4483455"/>
            <a:ext cx="549593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da-DK" noProof="0" dirty="0"/>
              <a:t>Skriv undertitel her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770" y="6148388"/>
            <a:ext cx="169030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32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3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rgbClr val="00627D"/>
          </a:solidFill>
          <a:ln>
            <a:noFill/>
          </a:ln>
        </p:spPr>
        <p:txBody>
          <a:bodyPr lIns="144000" bIns="108000">
            <a:normAutofit/>
          </a:bodyPr>
          <a:lstStyle>
            <a:lvl1pPr>
              <a:defRPr sz="1400" b="0" spc="30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Skriv overskrift her</a:t>
            </a:r>
            <a:br>
              <a:rPr lang="da-DK" noProof="0" dirty="0"/>
            </a:br>
            <a:r>
              <a:rPr lang="da-DK" noProof="0" dirty="0"/>
              <a:t>Maks. 2 linjer</a:t>
            </a:r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573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7" descr="I:\Implement\Graphic Design\_Grafisk materiale\Logoer\Implement Consulting Group\Farve\RGB_online\png\Implement-logo_RGB_hires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198" y="6417204"/>
            <a:ext cx="1368152" cy="291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79" b="26335"/>
          <a:stretch/>
        </p:blipFill>
        <p:spPr>
          <a:xfrm>
            <a:off x="92460" y="6400927"/>
            <a:ext cx="1303797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74793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23236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3050" y="123802"/>
            <a:ext cx="9359900" cy="71438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a-DK" noProof="0" dirty="0"/>
              <a:t>Skriv overskrift her</a:t>
            </a:r>
            <a:br>
              <a:rPr lang="da-DK" noProof="0" dirty="0"/>
            </a:br>
            <a:r>
              <a:rPr lang="da-DK" noProof="0" dirty="0"/>
              <a:t>Maks. 2 linj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050" y="1124608"/>
            <a:ext cx="9359899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a-DK" noProof="0" dirty="0"/>
              <a:t>Skriv tekst h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 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68941" y="900104"/>
            <a:ext cx="9364009" cy="0"/>
          </a:xfrm>
          <a:prstGeom prst="line">
            <a:avLst/>
          </a:prstGeom>
          <a:ln w="12700" cap="flat" cmpd="sng" algn="ctr">
            <a:solidFill>
              <a:srgbClr val="4D4D4D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68941" y="6381750"/>
            <a:ext cx="9366837" cy="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142"/>
          <p:cNvGrpSpPr>
            <a:grpSpLocks/>
          </p:cNvGrpSpPr>
          <p:nvPr/>
        </p:nvGrpSpPr>
        <p:grpSpPr bwMode="auto">
          <a:xfrm rot="16200000" flipV="1">
            <a:off x="-222285" y="6026150"/>
            <a:ext cx="196850" cy="152400"/>
            <a:chOff x="315" y="-144"/>
            <a:chExt cx="124" cy="96"/>
          </a:xfrm>
        </p:grpSpPr>
        <p:sp>
          <p:nvSpPr>
            <p:cNvPr id="14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  <p:sp>
          <p:nvSpPr>
            <p:cNvPr id="15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</p:grpSp>
      <p:sp>
        <p:nvSpPr>
          <p:cNvPr id="16" name="Line 148"/>
          <p:cNvSpPr>
            <a:spLocks noChangeShapeType="1"/>
          </p:cNvSpPr>
          <p:nvPr/>
        </p:nvSpPr>
        <p:spPr bwMode="auto">
          <a:xfrm rot="16200000">
            <a:off x="-146085" y="3582190"/>
            <a:ext cx="0" cy="1968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da-DK" noProof="0" dirty="0"/>
          </a:p>
        </p:txBody>
      </p:sp>
      <p:sp>
        <p:nvSpPr>
          <p:cNvPr id="17" name="Slide Number Placeholder 5"/>
          <p:cNvSpPr txBox="1">
            <a:spLocks/>
          </p:cNvSpPr>
          <p:nvPr/>
        </p:nvSpPr>
        <p:spPr>
          <a:xfrm>
            <a:off x="9167842" y="6553798"/>
            <a:ext cx="46510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2DDF7D-0CEF-42FE-B359-C4D7CCC70143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6" name="Group 142"/>
          <p:cNvGrpSpPr>
            <a:grpSpLocks/>
          </p:cNvGrpSpPr>
          <p:nvPr/>
        </p:nvGrpSpPr>
        <p:grpSpPr bwMode="auto">
          <a:xfrm>
            <a:off x="273050" y="-206375"/>
            <a:ext cx="196850" cy="152400"/>
            <a:chOff x="315" y="-144"/>
            <a:chExt cx="124" cy="96"/>
          </a:xfrm>
        </p:grpSpPr>
        <p:sp>
          <p:nvSpPr>
            <p:cNvPr id="19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  <p:sp>
          <p:nvSpPr>
            <p:cNvPr id="20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</p:grpSp>
      <p:grpSp>
        <p:nvGrpSpPr>
          <p:cNvPr id="7" name="Group 145"/>
          <p:cNvGrpSpPr>
            <a:grpSpLocks/>
          </p:cNvGrpSpPr>
          <p:nvPr/>
        </p:nvGrpSpPr>
        <p:grpSpPr bwMode="auto">
          <a:xfrm flipH="1">
            <a:off x="9436100" y="-206375"/>
            <a:ext cx="196850" cy="152400"/>
            <a:chOff x="315" y="-144"/>
            <a:chExt cx="124" cy="96"/>
          </a:xfrm>
        </p:grpSpPr>
        <p:sp>
          <p:nvSpPr>
            <p:cNvPr id="22" name="Line 146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  <p:sp>
          <p:nvSpPr>
            <p:cNvPr id="23" name="Line 147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endParaRPr lang="da-DK" noProof="0" dirty="0"/>
            </a:p>
          </p:txBody>
        </p:sp>
      </p:grpSp>
      <p:sp>
        <p:nvSpPr>
          <p:cNvPr id="24" name="Line 148"/>
          <p:cNvSpPr>
            <a:spLocks noChangeShapeType="1"/>
          </p:cNvSpPr>
          <p:nvPr/>
        </p:nvSpPr>
        <p:spPr bwMode="auto">
          <a:xfrm>
            <a:off x="4953000" y="-250825"/>
            <a:ext cx="0" cy="1968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da-DK" noProof="0" dirty="0"/>
          </a:p>
        </p:txBody>
      </p:sp>
      <p:grpSp>
        <p:nvGrpSpPr>
          <p:cNvPr id="10" name="Group 142"/>
          <p:cNvGrpSpPr>
            <a:grpSpLocks/>
          </p:cNvGrpSpPr>
          <p:nvPr/>
        </p:nvGrpSpPr>
        <p:grpSpPr bwMode="auto">
          <a:xfrm rot="5400000">
            <a:off x="-222285" y="1147768"/>
            <a:ext cx="196850" cy="152400"/>
            <a:chOff x="315" y="-144"/>
            <a:chExt cx="124" cy="96"/>
          </a:xfrm>
        </p:grpSpPr>
        <p:sp>
          <p:nvSpPr>
            <p:cNvPr id="29" name="Line 143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t"/>
            <a:lstStyle/>
            <a:p>
              <a:endParaRPr lang="da-DK" noProof="0" dirty="0"/>
            </a:p>
          </p:txBody>
        </p:sp>
        <p:sp>
          <p:nvSpPr>
            <p:cNvPr id="30" name="Line 144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t"/>
            <a:lstStyle/>
            <a:p>
              <a:endParaRPr lang="da-DK" noProof="0" dirty="0"/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282483" y="6422017"/>
            <a:ext cx="3086289" cy="355355"/>
            <a:chOff x="282483" y="6422017"/>
            <a:chExt cx="3086289" cy="355355"/>
          </a:xfrm>
        </p:grpSpPr>
        <p:pic>
          <p:nvPicPr>
            <p:cNvPr id="25" name="Picture 37" descr="I:\Implement\Graphic Design\_Grafisk materiale\Logoer\Implement Consulting Group\Farve\RGB_online\png\Implement-logo_RGB_hires.png"/>
            <p:cNvPicPr>
              <a:picLocks noChangeAspect="1" noChangeArrowheads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483" y="6521079"/>
              <a:ext cx="1034113" cy="220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5"/>
            <p:cNvPicPr>
              <a:picLocks noChangeAspect="1"/>
            </p:cNvPicPr>
            <p:nvPr userDrawn="1"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079" b="26335"/>
            <a:stretch/>
          </p:blipFill>
          <p:spPr>
            <a:xfrm>
              <a:off x="1604628" y="6463557"/>
              <a:ext cx="1051769" cy="261370"/>
            </a:xfrm>
            <a:prstGeom prst="rect">
              <a:avLst/>
            </a:prstGeom>
          </p:spPr>
        </p:pic>
        <p:pic>
          <p:nvPicPr>
            <p:cNvPr id="31" name="Picture 2" descr="Billedresultat for kora logo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0772" y="6422017"/>
              <a:ext cx="468000" cy="355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692" r:id="rId4"/>
    <p:sldLayoutId id="2147483701" r:id="rId5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171450" indent="-171450" algn="l" defTabSz="914400" rtl="0" eaLnBrk="1" latinLnBrk="0" hangingPunct="1">
        <a:spcBef>
          <a:spcPts val="600"/>
        </a:spcBef>
        <a:buClr>
          <a:srgbClr val="004C27"/>
        </a:buClr>
        <a:buFont typeface="Wingdings 3" panose="05040102010807070707" pitchFamily="18" charset="2"/>
        <a:buChar char="}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indent="-180000" algn="l" defTabSz="914400" rtl="0" eaLnBrk="1" latinLnBrk="0" hangingPunct="1">
        <a:spcBef>
          <a:spcPts val="600"/>
        </a:spcBef>
        <a:buClr>
          <a:srgbClr val="004C27"/>
        </a:buClr>
        <a:buFont typeface="Wingdings 3" panose="05040102010807070707" pitchFamily="18" charset="2"/>
        <a:buChar char="}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defTabSz="914400" rtl="0" eaLnBrk="1" latinLnBrk="0" hangingPunct="1">
        <a:spcBef>
          <a:spcPts val="600"/>
        </a:spcBef>
        <a:buClr>
          <a:srgbClr val="004C27"/>
        </a:buClr>
        <a:buFont typeface="Wingdings 3" panose="05040102010807070707" pitchFamily="18" charset="2"/>
        <a:buChar char="}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1338" indent="-182563" algn="l" defTabSz="914400" rtl="0" eaLnBrk="1" latinLnBrk="0" hangingPunct="1">
        <a:spcBef>
          <a:spcPts val="600"/>
        </a:spcBef>
        <a:buClr>
          <a:srgbClr val="004C27"/>
        </a:buClr>
        <a:buFont typeface="Wingdings 3" panose="05040102010807070707" pitchFamily="18" charset="2"/>
        <a:buChar char="}"/>
        <a:tabLst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5963" indent="-174625" algn="l" defTabSz="914400" rtl="0" eaLnBrk="1" latinLnBrk="0" hangingPunct="1">
        <a:spcBef>
          <a:spcPts val="600"/>
        </a:spcBef>
        <a:buClr>
          <a:srgbClr val="004C27"/>
        </a:buClr>
        <a:buFont typeface="Wingdings 3" panose="05040102010807070707" pitchFamily="18" charset="2"/>
        <a:buChar char="}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13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15.emf"/><Relationship Id="rId2" Type="http://schemas.openxmlformats.org/officeDocument/2006/relationships/tags" Target="../tags/tag8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6.xml"/><Relationship Id="rId19" Type="http://schemas.openxmlformats.org/officeDocument/2006/relationships/image" Target="../media/image14.jp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Forløbsbeskrivelse</a:t>
            </a:r>
            <a:br>
              <a:rPr lang="da-DK" dirty="0"/>
            </a:br>
            <a:r>
              <a:rPr lang="da-DK" dirty="0"/>
              <a:t>Det nationale ledelsesprogram  i sundhedsvæsen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2480" y="2735052"/>
            <a:ext cx="9359900" cy="153888"/>
          </a:xfrm>
        </p:spPr>
        <p:txBody>
          <a:bodyPr/>
          <a:lstStyle/>
          <a:p>
            <a:r>
              <a:rPr lang="da-DK" dirty="0"/>
              <a:t>Hold 2,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mplement Consulting Group &amp; LEAD – enter next level</a:t>
            </a:r>
            <a:endParaRPr lang="da-DK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2210" y="6411800"/>
            <a:ext cx="1400790" cy="365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3E5A75-2AC5-40CC-A98F-62EDE6BC4D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6334" y="6412765"/>
            <a:ext cx="694498" cy="44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38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5827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Slide" r:id="rId16" imgW="381" imgH="381" progId="TCLayout.ActiveDocument.1">
                  <p:embed/>
                </p:oleObj>
              </mc:Choice>
              <mc:Fallback>
                <p:oleObj name="think-cell Slide" r:id="rId16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3050" y="123802"/>
            <a:ext cx="9359900" cy="714380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Forløbsoversigt 2018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60001" y="4797152"/>
            <a:ext cx="9403826" cy="1224136"/>
          </a:xfrm>
          <a:prstGeom prst="rect">
            <a:avLst/>
          </a:prstGeom>
          <a:solidFill>
            <a:srgbClr val="D9D9D9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44000" rtlCol="0" anchor="b" anchorCtr="0"/>
          <a:lstStyle/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GB" sz="1000" dirty="0">
                <a:solidFill>
                  <a:srgbClr val="3D3935"/>
                </a:solidFill>
                <a:latin typeface="Arial" pitchFamily="34" charset="0"/>
                <a:cs typeface="Arial" pitchFamily="34" charset="0"/>
              </a:rPr>
              <a:t>ARBEJDE I EGEN ORGANISATION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290878" y="1383921"/>
            <a:ext cx="9372949" cy="2081083"/>
          </a:xfrm>
          <a:prstGeom prst="rect">
            <a:avLst/>
          </a:prstGeom>
          <a:solidFill>
            <a:srgbClr val="D9D9D9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44000" rtlCol="0" anchor="b" anchorCtr="0"/>
          <a:lstStyle/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GB" sz="1000" dirty="0">
                <a:solidFill>
                  <a:srgbClr val="3D3935"/>
                </a:solidFill>
                <a:latin typeface="Arial" pitchFamily="34" charset="0"/>
                <a:cs typeface="Arial" pitchFamily="34" charset="0"/>
              </a:rPr>
              <a:t>FÆLLES MODULER</a:t>
            </a:r>
          </a:p>
        </p:txBody>
      </p:sp>
      <p:sp>
        <p:nvSpPr>
          <p:cNvPr id="62" name="Pentagon 61"/>
          <p:cNvSpPr/>
          <p:nvPr/>
        </p:nvSpPr>
        <p:spPr>
          <a:xfrm>
            <a:off x="3188804" y="5077317"/>
            <a:ext cx="6430637" cy="663807"/>
          </a:xfrm>
          <a:prstGeom prst="homePlate">
            <a:avLst/>
          </a:prstGeom>
          <a:solidFill>
            <a:srgbClr val="86AC32"/>
          </a:solidFill>
          <a:ln>
            <a:noFill/>
          </a:ln>
        </p:spPr>
        <p:txBody>
          <a:bodyPr vert="horz" wrap="square" lIns="72000" tIns="72000" rIns="72000" bIns="72000" rtlCol="0" anchor="ctr" anchorCtr="0">
            <a:noAutofit/>
          </a:bodyPr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r>
              <a:rPr lang="da-DK" sz="1000" b="1" dirty="0">
                <a:solidFill>
                  <a:schemeClr val="bg1"/>
                </a:solidFill>
                <a:cs typeface="Arial" pitchFamily="34" charset="0"/>
              </a:rPr>
              <a:t>Forbedringsinitiativ og sparring med coaches</a:t>
            </a:r>
          </a:p>
        </p:txBody>
      </p:sp>
      <p:sp>
        <p:nvSpPr>
          <p:cNvPr id="45" name="Line 3"/>
          <p:cNvSpPr>
            <a:spLocks noChangeShapeType="1"/>
          </p:cNvSpPr>
          <p:nvPr/>
        </p:nvSpPr>
        <p:spPr bwMode="gray">
          <a:xfrm flipV="1">
            <a:off x="318293" y="1675430"/>
            <a:ext cx="9242061" cy="0"/>
          </a:xfrm>
          <a:prstGeom prst="line">
            <a:avLst/>
          </a:prstGeom>
          <a:noFill/>
          <a:ln w="28575">
            <a:solidFill>
              <a:srgbClr val="00627D"/>
            </a:solidFill>
            <a:round/>
            <a:headEnd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600"/>
              </a:spcBef>
            </a:pPr>
            <a:endParaRPr lang="da-DK" sz="1000" dirty="0">
              <a:solidFill>
                <a:srgbClr val="4D4D4D"/>
              </a:solidFill>
            </a:endParaRPr>
          </a:p>
        </p:txBody>
      </p:sp>
      <p:sp>
        <p:nvSpPr>
          <p:cNvPr id="98" name="Content Placeholder 7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416364" y="1964364"/>
            <a:ext cx="868147" cy="885225"/>
          </a:xfrm>
          <a:prstGeom prst="rect">
            <a:avLst/>
          </a:prstGeom>
          <a:solidFill>
            <a:srgbClr val="86AC32"/>
          </a:solidFill>
          <a:ln>
            <a:noFill/>
          </a:ln>
        </p:spPr>
        <p:txBody>
          <a:bodyPr vert="horz" wrap="square" lIns="36000" tIns="72000" rIns="36000" bIns="72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1000" b="1" dirty="0">
                <a:solidFill>
                  <a:schemeClr val="bg1"/>
                </a:solidFill>
              </a:rPr>
              <a:t>Kick-off</a:t>
            </a:r>
          </a:p>
        </p:txBody>
      </p:sp>
      <p:sp>
        <p:nvSpPr>
          <p:cNvPr id="99" name="Content Placeholder 7"/>
          <p:cNvSpPr txBox="1">
            <a:spLocks/>
          </p:cNvSpPr>
          <p:nvPr/>
        </p:nvSpPr>
        <p:spPr>
          <a:xfrm>
            <a:off x="448449" y="1772816"/>
            <a:ext cx="86760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Februar</a:t>
            </a:r>
          </a:p>
        </p:txBody>
      </p:sp>
      <p:sp>
        <p:nvSpPr>
          <p:cNvPr id="113" name="Content Placeholder 7"/>
          <p:cNvSpPr txBox="1">
            <a:spLocks/>
          </p:cNvSpPr>
          <p:nvPr/>
        </p:nvSpPr>
        <p:spPr>
          <a:xfrm>
            <a:off x="2668917" y="4045470"/>
            <a:ext cx="1033507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endParaRPr lang="da-DK" sz="900" dirty="0">
              <a:solidFill>
                <a:srgbClr val="3D3935"/>
              </a:solidFill>
            </a:endParaRPr>
          </a:p>
        </p:txBody>
      </p:sp>
      <p:sp>
        <p:nvSpPr>
          <p:cNvPr id="100" name="Content Placeholder 7"/>
          <p:cNvSpPr txBox="1">
            <a:spLocks/>
          </p:cNvSpPr>
          <p:nvPr/>
        </p:nvSpPr>
        <p:spPr>
          <a:xfrm>
            <a:off x="2360712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19-21/3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2360712" y="1966982"/>
            <a:ext cx="987553" cy="885225"/>
            <a:chOff x="3255275" y="1966982"/>
            <a:chExt cx="987553" cy="885225"/>
          </a:xfrm>
          <a:solidFill>
            <a:srgbClr val="86AC32"/>
          </a:solidFill>
        </p:grpSpPr>
        <p:sp>
          <p:nvSpPr>
            <p:cNvPr id="92" name="Content Placeholder 7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255275" y="1966982"/>
              <a:ext cx="987553" cy="8852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6000" tIns="72000" rIns="36000" bIns="72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1000" b="1" dirty="0">
                  <a:solidFill>
                    <a:schemeClr val="bg1"/>
                  </a:solidFill>
                </a:rPr>
                <a:t>Modul 1</a:t>
              </a:r>
            </a:p>
          </p:txBody>
        </p:sp>
        <p:sp>
          <p:nvSpPr>
            <p:cNvPr id="125" name="Content Placeholder 7"/>
            <p:cNvSpPr txBox="1">
              <a:spLocks/>
            </p:cNvSpPr>
            <p:nvPr/>
          </p:nvSpPr>
          <p:spPr>
            <a:xfrm>
              <a:off x="3291279" y="2401434"/>
              <a:ext cx="900000" cy="276999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900" dirty="0">
                  <a:solidFill>
                    <a:schemeClr val="bg1"/>
                  </a:solidFill>
                </a:rPr>
                <a:t>Det nye kvalitets-paradigme</a:t>
              </a:r>
            </a:p>
          </p:txBody>
        </p:sp>
      </p:grpSp>
      <p:sp>
        <p:nvSpPr>
          <p:cNvPr id="101" name="Content Placeholder 7"/>
          <p:cNvSpPr txBox="1">
            <a:spLocks/>
          </p:cNvSpPr>
          <p:nvPr/>
        </p:nvSpPr>
        <p:spPr>
          <a:xfrm>
            <a:off x="3548844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7-9/5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548844" y="1966982"/>
            <a:ext cx="987553" cy="885225"/>
            <a:chOff x="4787000" y="1966982"/>
            <a:chExt cx="987553" cy="885225"/>
          </a:xfrm>
          <a:solidFill>
            <a:srgbClr val="86AC32"/>
          </a:solidFill>
        </p:grpSpPr>
        <p:sp>
          <p:nvSpPr>
            <p:cNvPr id="94" name="Content Placeholder 7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4787000" y="1966982"/>
              <a:ext cx="987553" cy="8852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6000" tIns="72000" rIns="36000" bIns="72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1000" b="1" dirty="0">
                  <a:solidFill>
                    <a:schemeClr val="bg1"/>
                  </a:solidFill>
                </a:rPr>
                <a:t>Modul 2</a:t>
              </a:r>
            </a:p>
          </p:txBody>
        </p:sp>
        <p:sp>
          <p:nvSpPr>
            <p:cNvPr id="126" name="Content Placeholder 7"/>
            <p:cNvSpPr txBox="1">
              <a:spLocks/>
            </p:cNvSpPr>
            <p:nvPr/>
          </p:nvSpPr>
          <p:spPr>
            <a:xfrm>
              <a:off x="4866776" y="2401434"/>
              <a:ext cx="828000" cy="276999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900" dirty="0">
                  <a:solidFill>
                    <a:schemeClr val="bg1"/>
                  </a:solidFill>
                </a:rPr>
                <a:t>Patienten som kvalitetspartner</a:t>
              </a:r>
            </a:p>
          </p:txBody>
        </p:sp>
      </p:grpSp>
      <p:sp>
        <p:nvSpPr>
          <p:cNvPr id="103" name="Content Placeholder 7"/>
          <p:cNvSpPr txBox="1">
            <a:spLocks/>
          </p:cNvSpPr>
          <p:nvPr/>
        </p:nvSpPr>
        <p:spPr>
          <a:xfrm>
            <a:off x="7332385" y="3444696"/>
            <a:ext cx="117566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endParaRPr lang="da-DK" sz="900" dirty="0">
              <a:solidFill>
                <a:srgbClr val="3D3935"/>
              </a:solidFill>
            </a:endParaRPr>
          </a:p>
        </p:txBody>
      </p:sp>
      <p:sp>
        <p:nvSpPr>
          <p:cNvPr id="104" name="Content Placeholder 7"/>
          <p:cNvSpPr txBox="1">
            <a:spLocks/>
          </p:cNvSpPr>
          <p:nvPr/>
        </p:nvSpPr>
        <p:spPr>
          <a:xfrm>
            <a:off x="7186401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1-2/10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185248" y="1967711"/>
            <a:ext cx="987553" cy="885225"/>
            <a:chOff x="7024530" y="1967711"/>
            <a:chExt cx="987553" cy="885225"/>
          </a:xfrm>
          <a:solidFill>
            <a:srgbClr val="86AC32"/>
          </a:solidFill>
        </p:grpSpPr>
        <p:sp>
          <p:nvSpPr>
            <p:cNvPr id="76" name="Content Placeholder 7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7024530" y="1967711"/>
              <a:ext cx="987553" cy="8852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6000" tIns="72000" rIns="36000" bIns="72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1000" b="1" dirty="0">
                  <a:solidFill>
                    <a:schemeClr val="bg1"/>
                  </a:solidFill>
                </a:rPr>
                <a:t>Modul 4</a:t>
              </a:r>
            </a:p>
          </p:txBody>
        </p:sp>
        <p:sp>
          <p:nvSpPr>
            <p:cNvPr id="136" name="Content Placeholder 7"/>
            <p:cNvSpPr txBox="1">
              <a:spLocks/>
            </p:cNvSpPr>
            <p:nvPr/>
          </p:nvSpPr>
          <p:spPr>
            <a:xfrm>
              <a:off x="7122306" y="2401434"/>
              <a:ext cx="792000" cy="276999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900" dirty="0">
                  <a:solidFill>
                    <a:schemeClr val="bg1"/>
                  </a:solidFill>
                </a:rPr>
                <a:t>Motivation og styring</a:t>
              </a:r>
            </a:p>
          </p:txBody>
        </p:sp>
      </p:grpSp>
      <p:sp>
        <p:nvSpPr>
          <p:cNvPr id="102" name="Content Placeholder 7"/>
          <p:cNvSpPr txBox="1">
            <a:spLocks/>
          </p:cNvSpPr>
          <p:nvPr/>
        </p:nvSpPr>
        <p:spPr>
          <a:xfrm>
            <a:off x="6072462" y="1772816"/>
            <a:ext cx="1454805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endParaRPr lang="da-DK" sz="900" dirty="0">
              <a:solidFill>
                <a:srgbClr val="3D3935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772980" y="1966982"/>
            <a:ext cx="987554" cy="885225"/>
            <a:chOff x="5905100" y="1966982"/>
            <a:chExt cx="987554" cy="885225"/>
          </a:xfrm>
          <a:solidFill>
            <a:srgbClr val="86AC32"/>
          </a:solidFill>
        </p:grpSpPr>
        <p:sp>
          <p:nvSpPr>
            <p:cNvPr id="71" name="Content Placeholder 7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5905100" y="1966982"/>
              <a:ext cx="987554" cy="8852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36000" tIns="72000" rIns="36000" bIns="72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1000" b="1" dirty="0">
                  <a:solidFill>
                    <a:schemeClr val="bg1"/>
                  </a:solidFill>
                </a:rPr>
                <a:t>Modul 3</a:t>
              </a:r>
            </a:p>
          </p:txBody>
        </p:sp>
        <p:sp>
          <p:nvSpPr>
            <p:cNvPr id="135" name="Content Placeholder 7"/>
            <p:cNvSpPr txBox="1">
              <a:spLocks/>
            </p:cNvSpPr>
            <p:nvPr/>
          </p:nvSpPr>
          <p:spPr>
            <a:xfrm>
              <a:off x="5951108" y="2401434"/>
              <a:ext cx="895539" cy="415498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•"/>
                <a:defRPr sz="18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indent="-144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»"/>
                <a:tabLst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800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Font typeface="Arial" pitchFamily="34" charset="0"/>
                <a:buChar char="·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  <a:defRPr/>
              </a:pPr>
              <a:r>
                <a:rPr lang="da-DK" sz="900" dirty="0">
                  <a:solidFill>
                    <a:schemeClr val="bg1"/>
                  </a:solidFill>
                </a:rPr>
                <a:t>Udsyn og perspektiv (Skotland)</a:t>
              </a:r>
            </a:p>
          </p:txBody>
        </p:sp>
      </p:grpSp>
      <p:sp>
        <p:nvSpPr>
          <p:cNvPr id="105" name="Content Placeholder 7"/>
          <p:cNvSpPr txBox="1">
            <a:spLocks/>
          </p:cNvSpPr>
          <p:nvPr/>
        </p:nvSpPr>
        <p:spPr>
          <a:xfrm>
            <a:off x="4774134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18-20/6</a:t>
            </a:r>
          </a:p>
        </p:txBody>
      </p:sp>
      <p:sp>
        <p:nvSpPr>
          <p:cNvPr id="96" name="Content Placeholder 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480239" y="1966982"/>
            <a:ext cx="987553" cy="885225"/>
          </a:xfrm>
          <a:prstGeom prst="rect">
            <a:avLst/>
          </a:prstGeom>
          <a:solidFill>
            <a:srgbClr val="86AC32"/>
          </a:solidFill>
          <a:ln>
            <a:noFill/>
          </a:ln>
        </p:spPr>
        <p:txBody>
          <a:bodyPr vert="horz" wrap="square" lIns="36000" tIns="72000" rIns="36000" bIns="72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1000" b="1" dirty="0">
                <a:solidFill>
                  <a:schemeClr val="bg1"/>
                </a:solidFill>
              </a:rPr>
              <a:t>Modul 5</a:t>
            </a:r>
          </a:p>
        </p:txBody>
      </p:sp>
      <p:sp>
        <p:nvSpPr>
          <p:cNvPr id="127" name="Content Placeholder 7"/>
          <p:cNvSpPr txBox="1">
            <a:spLocks/>
          </p:cNvSpPr>
          <p:nvPr/>
        </p:nvSpPr>
        <p:spPr>
          <a:xfrm>
            <a:off x="8445388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27-29/11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90878" y="3501008"/>
            <a:ext cx="9372949" cy="1224136"/>
          </a:xfrm>
          <a:prstGeom prst="rect">
            <a:avLst/>
          </a:prstGeom>
          <a:solidFill>
            <a:srgbClr val="D9D9D9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44000" rtlCol="0" anchor="b" anchorCtr="0"/>
          <a:lstStyle/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endParaRPr lang="en-GB" sz="1000" b="1" dirty="0">
              <a:solidFill>
                <a:srgbClr val="3D3935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GB" sz="1000" dirty="0">
                <a:solidFill>
                  <a:srgbClr val="3D3935"/>
                </a:solidFill>
                <a:latin typeface="Arial" pitchFamily="34" charset="0"/>
                <a:cs typeface="Arial" pitchFamily="34" charset="0"/>
              </a:rPr>
              <a:t>GEOGRAFISKE SPARRINGSGRUPPER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989545" y="3140968"/>
            <a:ext cx="991347" cy="1482319"/>
            <a:chOff x="3762394" y="3140968"/>
            <a:chExt cx="991347" cy="1482319"/>
          </a:xfrm>
        </p:grpSpPr>
        <p:grpSp>
          <p:nvGrpSpPr>
            <p:cNvPr id="7" name="Group 6"/>
            <p:cNvGrpSpPr/>
            <p:nvPr/>
          </p:nvGrpSpPr>
          <p:grpSpPr>
            <a:xfrm>
              <a:off x="3762394" y="4180674"/>
              <a:ext cx="991347" cy="442613"/>
              <a:chOff x="3741954" y="4180674"/>
              <a:chExt cx="991347" cy="442613"/>
            </a:xfrm>
          </p:grpSpPr>
          <p:sp>
            <p:nvSpPr>
              <p:cNvPr id="91" name="Content Placeholder 7"/>
              <p:cNvSpPr txBox="1">
                <a:spLocks/>
              </p:cNvSpPr>
              <p:nvPr>
                <p:custDataLst>
                  <p:tags r:id="rId9"/>
                </p:custDataLst>
              </p:nvPr>
            </p:nvSpPr>
            <p:spPr>
              <a:xfrm>
                <a:off x="3741954" y="4180674"/>
                <a:ext cx="991347" cy="442613"/>
              </a:xfrm>
              <a:prstGeom prst="rect">
                <a:avLst/>
              </a:prstGeom>
              <a:solidFill>
                <a:srgbClr val="86AC32"/>
              </a:solidFill>
              <a:ln>
                <a:noFill/>
              </a:ln>
            </p:spPr>
            <p:txBody>
              <a:bodyPr vert="horz" wrap="square" lIns="36000" tIns="72000" rIns="36000" bIns="72000" rtlCol="0" anchor="t" anchorCtr="0">
                <a:no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endParaRPr lang="da-DK" sz="1000" b="1" dirty="0">
                  <a:solidFill>
                    <a:srgbClr val="3D3935"/>
                  </a:solidFill>
                </a:endParaRPr>
              </a:p>
            </p:txBody>
          </p:sp>
          <p:sp>
            <p:nvSpPr>
              <p:cNvPr id="93" name="Content Placeholder 7"/>
              <p:cNvSpPr txBox="1">
                <a:spLocks/>
              </p:cNvSpPr>
              <p:nvPr/>
            </p:nvSpPr>
            <p:spPr>
              <a:xfrm>
                <a:off x="3833201" y="4332731"/>
                <a:ext cx="756000" cy="13849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r>
                  <a:rPr lang="da-DK" sz="900" b="1" dirty="0">
                    <a:solidFill>
                      <a:schemeClr val="bg1"/>
                    </a:solidFill>
                  </a:rPr>
                  <a:t>10-12/4</a:t>
                </a:r>
              </a:p>
            </p:txBody>
          </p:sp>
        </p:grpSp>
        <p:sp>
          <p:nvSpPr>
            <p:cNvPr id="19" name="Right Arrow 18"/>
            <p:cNvSpPr/>
            <p:nvPr/>
          </p:nvSpPr>
          <p:spPr>
            <a:xfrm rot="16200000">
              <a:off x="3729443" y="3409182"/>
              <a:ext cx="972108" cy="435679"/>
            </a:xfrm>
            <a:prstGeom prst="rightArrow">
              <a:avLst/>
            </a:prstGeom>
            <a:solidFill>
              <a:srgbClr val="0062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977877" y="3140968"/>
            <a:ext cx="991347" cy="1482319"/>
            <a:chOff x="6584953" y="3140968"/>
            <a:chExt cx="991347" cy="1482319"/>
          </a:xfrm>
        </p:grpSpPr>
        <p:grpSp>
          <p:nvGrpSpPr>
            <p:cNvPr id="13" name="Group 12"/>
            <p:cNvGrpSpPr/>
            <p:nvPr/>
          </p:nvGrpSpPr>
          <p:grpSpPr>
            <a:xfrm>
              <a:off x="6584953" y="4180675"/>
              <a:ext cx="991347" cy="442612"/>
              <a:chOff x="6584953" y="4180675"/>
              <a:chExt cx="991347" cy="442612"/>
            </a:xfrm>
          </p:grpSpPr>
          <p:sp>
            <p:nvSpPr>
              <p:cNvPr id="95" name="Content Placeholder 7"/>
              <p:cNvSpPr txBox="1"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6584953" y="4180675"/>
                <a:ext cx="991347" cy="442612"/>
              </a:xfrm>
              <a:prstGeom prst="rect">
                <a:avLst/>
              </a:prstGeom>
              <a:solidFill>
                <a:srgbClr val="86AC32"/>
              </a:solidFill>
              <a:ln>
                <a:noFill/>
              </a:ln>
            </p:spPr>
            <p:txBody>
              <a:bodyPr vert="horz" wrap="square" lIns="36000" tIns="72000" rIns="36000" bIns="72000" rtlCol="0" anchor="t" anchorCtr="0">
                <a:no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endParaRPr lang="da-DK" sz="1000" b="1" dirty="0">
                  <a:solidFill>
                    <a:srgbClr val="3D3935"/>
                  </a:solidFill>
                </a:endParaRPr>
              </a:p>
            </p:txBody>
          </p:sp>
          <p:sp>
            <p:nvSpPr>
              <p:cNvPr id="97" name="Content Placeholder 7"/>
              <p:cNvSpPr txBox="1">
                <a:spLocks/>
              </p:cNvSpPr>
              <p:nvPr/>
            </p:nvSpPr>
            <p:spPr>
              <a:xfrm>
                <a:off x="6712284" y="4332732"/>
                <a:ext cx="720000" cy="13849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r>
                  <a:rPr lang="da-DK" sz="900" b="1" dirty="0">
                    <a:solidFill>
                      <a:schemeClr val="bg1"/>
                    </a:solidFill>
                  </a:rPr>
                  <a:t>27-29/8</a:t>
                </a:r>
              </a:p>
            </p:txBody>
          </p:sp>
        </p:grpSp>
        <p:sp>
          <p:nvSpPr>
            <p:cNvPr id="69" name="Right Arrow 68"/>
            <p:cNvSpPr/>
            <p:nvPr/>
          </p:nvSpPr>
          <p:spPr>
            <a:xfrm rot="16200000">
              <a:off x="6584374" y="3409182"/>
              <a:ext cx="972108" cy="435679"/>
            </a:xfrm>
            <a:prstGeom prst="rightArrow">
              <a:avLst/>
            </a:prstGeom>
            <a:solidFill>
              <a:srgbClr val="0062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850085" y="3140968"/>
            <a:ext cx="991347" cy="1482319"/>
            <a:chOff x="7778077" y="3140968"/>
            <a:chExt cx="991347" cy="1482319"/>
          </a:xfrm>
        </p:grpSpPr>
        <p:grpSp>
          <p:nvGrpSpPr>
            <p:cNvPr id="14" name="Group 13"/>
            <p:cNvGrpSpPr/>
            <p:nvPr/>
          </p:nvGrpSpPr>
          <p:grpSpPr>
            <a:xfrm>
              <a:off x="7778077" y="4180674"/>
              <a:ext cx="991347" cy="442613"/>
              <a:chOff x="7707306" y="4180674"/>
              <a:chExt cx="991347" cy="442613"/>
            </a:xfrm>
          </p:grpSpPr>
          <p:sp>
            <p:nvSpPr>
              <p:cNvPr id="107" name="Content Placeholder 7"/>
              <p:cNvSpPr txBox="1">
                <a:spLocks/>
              </p:cNvSpPr>
              <p:nvPr>
                <p:custDataLst>
                  <p:tags r:id="rId7"/>
                </p:custDataLst>
              </p:nvPr>
            </p:nvSpPr>
            <p:spPr>
              <a:xfrm>
                <a:off x="7707306" y="4180674"/>
                <a:ext cx="991347" cy="442613"/>
              </a:xfrm>
              <a:prstGeom prst="rect">
                <a:avLst/>
              </a:prstGeom>
              <a:solidFill>
                <a:srgbClr val="86AC32"/>
              </a:solidFill>
              <a:ln>
                <a:noFill/>
              </a:ln>
            </p:spPr>
            <p:txBody>
              <a:bodyPr vert="horz" wrap="square" lIns="36000" tIns="72000" rIns="36000" bIns="72000" rtlCol="0" anchor="t" anchorCtr="0">
                <a:no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endParaRPr lang="da-DK" sz="1000" b="1" dirty="0">
                  <a:solidFill>
                    <a:srgbClr val="3D3935"/>
                  </a:solidFill>
                </a:endParaRPr>
              </a:p>
            </p:txBody>
          </p:sp>
          <p:sp>
            <p:nvSpPr>
              <p:cNvPr id="108" name="Content Placeholder 7"/>
              <p:cNvSpPr txBox="1">
                <a:spLocks/>
              </p:cNvSpPr>
              <p:nvPr/>
            </p:nvSpPr>
            <p:spPr>
              <a:xfrm>
                <a:off x="7896979" y="4332731"/>
                <a:ext cx="612000" cy="138499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spcBef>
                    <a:spcPts val="600"/>
                  </a:spcBef>
                  <a:buFont typeface="Arial" pitchFamily="34" charset="0"/>
                  <a:buNone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44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•"/>
                  <a:defRPr sz="1800" kern="120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288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432000" indent="-144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»"/>
                  <a:tabLst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576000" indent="-180000" algn="l" defTabSz="914400" rtl="0" eaLnBrk="1" latinLnBrk="0" hangingPunct="1">
                  <a:spcBef>
                    <a:spcPts val="600"/>
                  </a:spcBef>
                  <a:buClr>
                    <a:schemeClr val="tx1"/>
                  </a:buClr>
                  <a:buFont typeface="Arial" pitchFamily="34" charset="0"/>
                  <a:buChar char="·"/>
                  <a:defRPr sz="18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300"/>
                  </a:spcBef>
                  <a:defRPr/>
                </a:pPr>
                <a:r>
                  <a:rPr lang="da-DK" sz="900" b="1" dirty="0">
                    <a:solidFill>
                      <a:schemeClr val="bg1"/>
                    </a:solidFill>
                  </a:rPr>
                  <a:t>29-31/10</a:t>
                </a:r>
              </a:p>
            </p:txBody>
          </p:sp>
        </p:grpSp>
        <p:sp>
          <p:nvSpPr>
            <p:cNvPr id="70" name="Right Arrow 69"/>
            <p:cNvSpPr/>
            <p:nvPr/>
          </p:nvSpPr>
          <p:spPr>
            <a:xfrm rot="16200000">
              <a:off x="7787696" y="3409182"/>
              <a:ext cx="972108" cy="435679"/>
            </a:xfrm>
            <a:prstGeom prst="rightArrow">
              <a:avLst/>
            </a:prstGeom>
            <a:solidFill>
              <a:srgbClr val="0062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59" name="Content Placeholder 7"/>
          <p:cNvSpPr txBox="1">
            <a:spLocks/>
          </p:cNvSpPr>
          <p:nvPr/>
        </p:nvSpPr>
        <p:spPr>
          <a:xfrm>
            <a:off x="8553400" y="2397766"/>
            <a:ext cx="792000" cy="276999"/>
          </a:xfrm>
          <a:prstGeom prst="rect">
            <a:avLst/>
          </a:prstGeom>
          <a:solidFill>
            <a:srgbClr val="86AC32"/>
          </a:solidFill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dirty="0">
                <a:solidFill>
                  <a:schemeClr val="bg1"/>
                </a:solidFill>
              </a:rPr>
              <a:t>Kultur og ledelse</a:t>
            </a:r>
          </a:p>
        </p:txBody>
      </p:sp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2210" y="6417332"/>
            <a:ext cx="1400790" cy="365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Content Placeholder 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48449" y="1964364"/>
            <a:ext cx="868147" cy="885225"/>
          </a:xfrm>
          <a:prstGeom prst="rect">
            <a:avLst/>
          </a:prstGeom>
          <a:solidFill>
            <a:srgbClr val="86AC32"/>
          </a:solidFill>
          <a:ln>
            <a:noFill/>
          </a:ln>
        </p:spPr>
        <p:txBody>
          <a:bodyPr vert="horz" wrap="square" lIns="36000" tIns="72000" rIns="36000" bIns="72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1000" b="1" dirty="0">
                <a:solidFill>
                  <a:schemeClr val="bg1"/>
                </a:solidFill>
              </a:rPr>
              <a:t>Telefonisk </a:t>
            </a:r>
            <a:r>
              <a:rPr lang="da-DK" sz="1000" b="1" dirty="0" err="1">
                <a:solidFill>
                  <a:schemeClr val="bg1"/>
                </a:solidFill>
              </a:rPr>
              <a:t>forsamtale</a:t>
            </a:r>
            <a:r>
              <a:rPr lang="da-DK" sz="1000" b="1" dirty="0">
                <a:solidFill>
                  <a:schemeClr val="bg1"/>
                </a:solidFill>
              </a:rPr>
              <a:t> med alle deltagere</a:t>
            </a:r>
          </a:p>
        </p:txBody>
      </p:sp>
      <p:sp>
        <p:nvSpPr>
          <p:cNvPr id="63" name="Content Placeholder 7"/>
          <p:cNvSpPr txBox="1">
            <a:spLocks/>
          </p:cNvSpPr>
          <p:nvPr/>
        </p:nvSpPr>
        <p:spPr>
          <a:xfrm>
            <a:off x="1388604" y="1772816"/>
            <a:ext cx="986400" cy="1384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44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8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32000" indent="-144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tabLst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76000" indent="-1800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·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defRPr/>
            </a:pPr>
            <a:r>
              <a:rPr lang="da-DK" sz="900" b="1" dirty="0">
                <a:solidFill>
                  <a:srgbClr val="3D3935"/>
                </a:solidFill>
              </a:rPr>
              <a:t>7/3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8455B3A-1B37-47AB-9F54-C156C31F76E4}"/>
              </a:ext>
            </a:extLst>
          </p:cNvPr>
          <p:cNvGrpSpPr/>
          <p:nvPr/>
        </p:nvGrpSpPr>
        <p:grpSpPr>
          <a:xfrm>
            <a:off x="555070" y="1476088"/>
            <a:ext cx="8912723" cy="1700884"/>
            <a:chOff x="912712" y="1459134"/>
            <a:chExt cx="8494371" cy="1515805"/>
          </a:xfrm>
        </p:grpSpPr>
        <p:sp>
          <p:nvSpPr>
            <p:cNvPr id="58" name="Content Placeholder 2"/>
            <p:cNvSpPr txBox="1">
              <a:spLocks/>
            </p:cNvSpPr>
            <p:nvPr/>
          </p:nvSpPr>
          <p:spPr>
            <a:xfrm>
              <a:off x="1879808" y="1475623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MARTS</a:t>
              </a:r>
            </a:p>
          </p:txBody>
        </p:sp>
        <p:sp>
          <p:nvSpPr>
            <p:cNvPr id="227" name="Content Placeholder 2"/>
            <p:cNvSpPr txBox="1">
              <a:spLocks/>
            </p:cNvSpPr>
            <p:nvPr/>
          </p:nvSpPr>
          <p:spPr>
            <a:xfrm>
              <a:off x="2770856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APRIL</a:t>
              </a:r>
            </a:p>
          </p:txBody>
        </p:sp>
        <p:sp>
          <p:nvSpPr>
            <p:cNvPr id="228" name="Content Placeholder 2"/>
            <p:cNvSpPr txBox="1">
              <a:spLocks/>
            </p:cNvSpPr>
            <p:nvPr/>
          </p:nvSpPr>
          <p:spPr>
            <a:xfrm>
              <a:off x="3731648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MAJ</a:t>
              </a:r>
            </a:p>
          </p:txBody>
        </p:sp>
        <p:sp>
          <p:nvSpPr>
            <p:cNvPr id="229" name="Content Placeholder 2"/>
            <p:cNvSpPr txBox="1">
              <a:spLocks/>
            </p:cNvSpPr>
            <p:nvPr/>
          </p:nvSpPr>
          <p:spPr>
            <a:xfrm>
              <a:off x="4520870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JUNI</a:t>
              </a:r>
            </a:p>
          </p:txBody>
        </p:sp>
        <p:sp>
          <p:nvSpPr>
            <p:cNvPr id="230" name="Content Placeholder 2"/>
            <p:cNvSpPr txBox="1">
              <a:spLocks/>
            </p:cNvSpPr>
            <p:nvPr/>
          </p:nvSpPr>
          <p:spPr>
            <a:xfrm>
              <a:off x="5241465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JULI</a:t>
              </a:r>
            </a:p>
          </p:txBody>
        </p:sp>
        <p:sp>
          <p:nvSpPr>
            <p:cNvPr id="231" name="Content Placeholder 2"/>
            <p:cNvSpPr txBox="1">
              <a:spLocks/>
            </p:cNvSpPr>
            <p:nvPr/>
          </p:nvSpPr>
          <p:spPr>
            <a:xfrm>
              <a:off x="5962059" y="1459135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AUGUST</a:t>
              </a:r>
            </a:p>
          </p:txBody>
        </p:sp>
        <p:sp>
          <p:nvSpPr>
            <p:cNvPr id="232" name="Content Placeholder 2"/>
            <p:cNvSpPr txBox="1">
              <a:spLocks/>
            </p:cNvSpPr>
            <p:nvPr/>
          </p:nvSpPr>
          <p:spPr>
            <a:xfrm>
              <a:off x="6785596" y="1459134"/>
              <a:ext cx="756018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SEPTEMBER</a:t>
              </a:r>
            </a:p>
          </p:txBody>
        </p:sp>
        <p:sp>
          <p:nvSpPr>
            <p:cNvPr id="233" name="Content Placeholder 2"/>
            <p:cNvSpPr txBox="1">
              <a:spLocks/>
            </p:cNvSpPr>
            <p:nvPr/>
          </p:nvSpPr>
          <p:spPr>
            <a:xfrm>
              <a:off x="7775515" y="1462902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OKTOBER</a:t>
              </a:r>
            </a:p>
          </p:txBody>
        </p:sp>
        <p:sp>
          <p:nvSpPr>
            <p:cNvPr id="234" name="Content Placeholder 2"/>
            <p:cNvSpPr txBox="1">
              <a:spLocks/>
            </p:cNvSpPr>
            <p:nvPr/>
          </p:nvSpPr>
          <p:spPr>
            <a:xfrm>
              <a:off x="8639670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NOVEMBER</a:t>
              </a:r>
            </a:p>
          </p:txBody>
        </p:sp>
        <p:sp>
          <p:nvSpPr>
            <p:cNvPr id="64" name="Content Placeholder 2"/>
            <p:cNvSpPr txBox="1">
              <a:spLocks/>
            </p:cNvSpPr>
            <p:nvPr/>
          </p:nvSpPr>
          <p:spPr>
            <a:xfrm>
              <a:off x="912712" y="1465279"/>
              <a:ext cx="650849" cy="12311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FEBRUAR</a:t>
              </a:r>
            </a:p>
          </p:txBody>
        </p:sp>
        <p:sp>
          <p:nvSpPr>
            <p:cNvPr id="65" name="Content Placeholder 2">
              <a:extLst>
                <a:ext uri="{FF2B5EF4-FFF2-40B4-BE49-F238E27FC236}">
                  <a16:creationId xmlns:a16="http://schemas.microsoft.com/office/drawing/2014/main" id="{A8178F6C-2D71-4E6D-959C-03E36513ACDF}"/>
                </a:ext>
              </a:extLst>
            </p:cNvPr>
            <p:cNvSpPr txBox="1">
              <a:spLocks/>
            </p:cNvSpPr>
            <p:nvPr/>
          </p:nvSpPr>
          <p:spPr>
            <a:xfrm>
              <a:off x="1733578" y="2718249"/>
              <a:ext cx="806834" cy="253715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Region Sj.</a:t>
              </a:r>
            </a:p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Kragerup Gods</a:t>
              </a:r>
            </a:p>
          </p:txBody>
        </p:sp>
        <p:sp>
          <p:nvSpPr>
            <p:cNvPr id="66" name="Content Placeholder 2">
              <a:extLst>
                <a:ext uri="{FF2B5EF4-FFF2-40B4-BE49-F238E27FC236}">
                  <a16:creationId xmlns:a16="http://schemas.microsoft.com/office/drawing/2014/main" id="{91F7A3A7-64BB-492D-AB1D-680E9CA6E6CA}"/>
                </a:ext>
              </a:extLst>
            </p:cNvPr>
            <p:cNvSpPr txBox="1">
              <a:spLocks/>
            </p:cNvSpPr>
            <p:nvPr/>
          </p:nvSpPr>
          <p:spPr>
            <a:xfrm>
              <a:off x="2768986" y="2712673"/>
              <a:ext cx="650849" cy="253715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Region H</a:t>
              </a:r>
            </a:p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Højstrupgård</a:t>
              </a:r>
            </a:p>
          </p:txBody>
        </p:sp>
        <p:sp>
          <p:nvSpPr>
            <p:cNvPr id="67" name="Content Placeholder 2">
              <a:extLst>
                <a:ext uri="{FF2B5EF4-FFF2-40B4-BE49-F238E27FC236}">
                  <a16:creationId xmlns:a16="http://schemas.microsoft.com/office/drawing/2014/main" id="{224AA825-97C0-40F5-B587-90DA8164B896}"/>
                </a:ext>
              </a:extLst>
            </p:cNvPr>
            <p:cNvSpPr txBox="1">
              <a:spLocks/>
            </p:cNvSpPr>
            <p:nvPr/>
          </p:nvSpPr>
          <p:spPr>
            <a:xfrm>
              <a:off x="3765962" y="2712673"/>
              <a:ext cx="934893" cy="253715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Region N</a:t>
              </a:r>
            </a:p>
            <a:p>
              <a:pPr algn="ctr">
                <a:spcBef>
                  <a:spcPts val="300"/>
                </a:spcBef>
              </a:pPr>
              <a:r>
                <a:rPr lang="da-DK" sz="800" dirty="0" err="1">
                  <a:solidFill>
                    <a:srgbClr val="3D3935"/>
                  </a:solidFill>
                  <a:latin typeface="+mn-lt"/>
                </a:rPr>
                <a:t>Comwell</a:t>
              </a: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 Hvide Hus</a:t>
              </a:r>
            </a:p>
          </p:txBody>
        </p:sp>
        <p:sp>
          <p:nvSpPr>
            <p:cNvPr id="72" name="Content Placeholder 2">
              <a:extLst>
                <a:ext uri="{FF2B5EF4-FFF2-40B4-BE49-F238E27FC236}">
                  <a16:creationId xmlns:a16="http://schemas.microsoft.com/office/drawing/2014/main" id="{D6765C10-51F6-4D3F-B8BB-CA7C67C12786}"/>
                </a:ext>
              </a:extLst>
            </p:cNvPr>
            <p:cNvSpPr txBox="1">
              <a:spLocks/>
            </p:cNvSpPr>
            <p:nvPr/>
          </p:nvSpPr>
          <p:spPr>
            <a:xfrm>
              <a:off x="7225373" y="2712672"/>
              <a:ext cx="924042" cy="26226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Region M</a:t>
              </a:r>
            </a:p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Hotel Vejlefjord</a:t>
              </a:r>
            </a:p>
          </p:txBody>
        </p:sp>
        <p:sp>
          <p:nvSpPr>
            <p:cNvPr id="73" name="Content Placeholder 2">
              <a:extLst>
                <a:ext uri="{FF2B5EF4-FFF2-40B4-BE49-F238E27FC236}">
                  <a16:creationId xmlns:a16="http://schemas.microsoft.com/office/drawing/2014/main" id="{A074B029-7EE9-49DC-83FD-33021CCD0052}"/>
                </a:ext>
              </a:extLst>
            </p:cNvPr>
            <p:cNvSpPr txBox="1">
              <a:spLocks/>
            </p:cNvSpPr>
            <p:nvPr/>
          </p:nvSpPr>
          <p:spPr>
            <a:xfrm>
              <a:off x="8465884" y="2712675"/>
              <a:ext cx="941199" cy="253715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itchFamily="34" charset="0"/>
                <a:buNone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44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288000" marR="0" indent="-144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Font typeface="Arial"/>
                <a:buChar char="–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432000" marR="0" indent="-1440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»"/>
                <a:tabLst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576000" indent="-144000" algn="l" defTabSz="914400" rtl="0" eaLnBrk="1" latinLnBrk="0" hangingPunct="1">
                <a:spcBef>
                  <a:spcPts val="600"/>
                </a:spcBef>
                <a:buClrTx/>
                <a:buFont typeface="Arial" pitchFamily="34" charset="0"/>
                <a:buChar char="·"/>
                <a:defRPr sz="12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Region S</a:t>
              </a:r>
            </a:p>
            <a:p>
              <a:pPr algn="ctr">
                <a:spcBef>
                  <a:spcPts val="300"/>
                </a:spcBef>
              </a:pPr>
              <a:r>
                <a:rPr lang="da-DK" sz="800" dirty="0">
                  <a:solidFill>
                    <a:srgbClr val="3D3935"/>
                  </a:solidFill>
                  <a:latin typeface="+mn-lt"/>
                </a:rPr>
                <a:t>Hotel Fåborg Fjord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F3522E8-D608-4236-B78A-FC6CC2D4B1D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756334" y="6412765"/>
            <a:ext cx="694498" cy="445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1612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ksVnrUirv7JRz7YG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iW0CO4RkOlIo1C66mlkg"/>
</p:tagLst>
</file>

<file path=ppt/theme/theme1.xml><?xml version="1.0" encoding="utf-8"?>
<a:theme xmlns:a="http://schemas.openxmlformats.org/drawingml/2006/main" name="Basis_DK">
  <a:themeElements>
    <a:clrScheme name="Implement">
      <a:dk1>
        <a:srgbClr val="3D3935"/>
      </a:dk1>
      <a:lt1>
        <a:sysClr val="window" lastClr="FFFFFF"/>
      </a:lt1>
      <a:dk2>
        <a:srgbClr val="3D3935"/>
      </a:dk2>
      <a:lt2>
        <a:srgbClr val="FFFFFF"/>
      </a:lt2>
      <a:accent1>
        <a:srgbClr val="FFFFFF"/>
      </a:accent1>
      <a:accent2>
        <a:srgbClr val="DAD7CB"/>
      </a:accent2>
      <a:accent3>
        <a:srgbClr val="A59D95"/>
      </a:accent3>
      <a:accent4>
        <a:srgbClr val="675C53"/>
      </a:accent4>
      <a:accent5>
        <a:srgbClr val="3D3935"/>
      </a:accent5>
      <a:accent6>
        <a:srgbClr val="DC4817"/>
      </a:accent6>
      <a:hlink>
        <a:srgbClr val="DC4817"/>
      </a:hlink>
      <a:folHlink>
        <a:srgbClr val="A59D95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>
          <a:defRPr dirty="0" err="1" smtClean="0">
            <a:solidFill>
              <a:schemeClr val="accent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dirty="0" smtClean="0">
            <a:solidFill>
              <a:srgbClr val="342F2B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Implement Dark Blue">
      <a:srgbClr val="003E51"/>
    </a:custClr>
    <a:custClr name="Implement Green">
      <a:srgbClr val="7F9C90"/>
    </a:custClr>
    <a:custClr name="Implement Light Blue">
      <a:srgbClr val="9BB8D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</Words>
  <Application>Microsoft Office PowerPoint</Application>
  <PresentationFormat>A4 Paper (210x297 mm)</PresentationFormat>
  <Paragraphs>7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Georgia</vt:lpstr>
      <vt:lpstr>Wingdings 3</vt:lpstr>
      <vt:lpstr>Basis_DK</vt:lpstr>
      <vt:lpstr>think-cell Slide</vt:lpstr>
      <vt:lpstr>Forløbsbeskrivelse Det nationale ledelsesprogram  i sundhedsvæsenet</vt:lpstr>
      <vt:lpstr>Forløbsoversigt 2018</vt:lpstr>
    </vt:vector>
  </TitlesOfParts>
  <Manager>Tine Søderberg</Manager>
  <Company>Implement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mplement Consulting Group</dc:creator>
  <cp:lastModifiedBy>Martin Vinstrup - Implement Consulting Group</cp:lastModifiedBy>
  <cp:revision>171</cp:revision>
  <cp:lastPrinted>2017-03-02T11:44:21Z</cp:lastPrinted>
  <dcterms:created xsi:type="dcterms:W3CDTF">2016-05-25T08:04:30Z</dcterms:created>
  <dcterms:modified xsi:type="dcterms:W3CDTF">2018-01-08T10:33:50Z</dcterms:modified>
</cp:coreProperties>
</file>